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08.xml" ContentType="application/vnd.openxmlformats-officedocument.presentationml.slide+xml"/>
  <Override PartName="/ppt/tags/tag1132.xml" ContentType="application/vnd.openxmlformats-officedocument.presentationml.tags+xml"/>
  <Override PartName="/ppt/tags/tag1137.xml" ContentType="application/vnd.openxmlformats-officedocument.presentationml.tags+xml"/>
  <Override PartName="/ppt/tags/tag1145.xml" ContentType="application/vnd.openxmlformats-officedocument.presentationml.tags+xml"/>
  <Override PartName="/ppt/tags/tag1140.xml" ContentType="application/vnd.openxmlformats-officedocument.presentationml.tags+xml"/>
  <Override PartName="/ppt/notesSlides/notesSlide20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126.xml" ContentType="application/vnd.openxmlformats-officedocument.presentationml.tags+xml"/>
  <Override PartName="/ppt/tags/tag1131.xml" ContentType="application/vnd.openxmlformats-officedocument.presentationml.tags+xml"/>
  <Override PartName="/ppt/tags/tag1136.xml" ContentType="application/vnd.openxmlformats-officedocument.presentationml.tags+xml"/>
  <Override PartName="/ppt/tags/tag1144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21.xml" ContentType="application/vnd.openxmlformats-officedocument.presentationml.tags+xml"/>
  <Override PartName="/ppt/tags/tag1135.xml" ContentType="application/vnd.openxmlformats-officedocument.presentationml.tags+xml"/>
  <Override PartName="/ppt/tags/tag1139.xml" ContentType="application/vnd.openxmlformats-officedocument.presentationml.tags+xml"/>
  <Override PartName="/ppt/tags/tag1148.xml" ContentType="application/vnd.openxmlformats-officedocument.presentationml.tags+xml"/>
  <Override PartName="/ppt/tags/tag1125.xml" ContentType="application/vnd.openxmlformats-officedocument.presentationml.tags+xml"/>
  <Override PartName="/ppt/tags/tag1130.xml" ContentType="application/vnd.openxmlformats-officedocument.presentationml.tags+xml"/>
  <Override PartName="/ppt/tags/tag1143.xml" ContentType="application/vnd.openxmlformats-officedocument.presentationml.tags+xml"/>
  <Override PartName="/ppt/tags/tag1151.xml" ContentType="application/vnd.openxmlformats-officedocument.presentationml.tags+xml"/>
  <Override PartName="/ppt/charts/chart42.xml" ContentType="application/vnd.openxmlformats-officedocument.drawingml.chart+xml"/>
  <Override PartName="/ppt/tags/tag1124.xml" ContentType="application/vnd.openxmlformats-officedocument.presentationml.tags+xml"/>
  <Override PartName="/ppt/tags/tag1134.xml" ContentType="application/vnd.openxmlformats-officedocument.presentationml.tags+xml"/>
  <Override PartName="/ppt/tags/tag1142.xml" ContentType="application/vnd.openxmlformats-officedocument.presentationml.tags+xml"/>
  <Override PartName="/ppt/tags/tag1147.xml" ContentType="application/vnd.openxmlformats-officedocument.presentationml.tags+xml"/>
  <Override PartName="/ppt/tags/tag1129.xml" ContentType="application/vnd.openxmlformats-officedocument.presentationml.tags+xml"/>
  <Override PartName="/ppt/tags/tag1138.xml" ContentType="application/vnd.openxmlformats-officedocument.presentationml.tags+xml"/>
  <Override PartName="/ppt/tags/tag1150.xml" ContentType="application/vnd.openxmlformats-officedocument.presentationml.tags+xml"/>
  <Override PartName="/ppt/tags/tag1123.xml" ContentType="application/vnd.openxmlformats-officedocument.presentationml.tags+xml"/>
  <Override PartName="/ppt/tags/tag1128.xml" ContentType="application/vnd.openxmlformats-officedocument.presentationml.tags+xml"/>
  <Override PartName="/ppt/tags/tag1133.xml" ContentType="application/vnd.openxmlformats-officedocument.presentationml.tags+xml"/>
  <Override PartName="/ppt/tags/tag1141.xml" ContentType="application/vnd.openxmlformats-officedocument.presentationml.tags+xml"/>
  <Override PartName="/ppt/tags/tag1146.xml" ContentType="application/vnd.openxmlformats-officedocument.presentationml.tags+xml"/>
  <Override PartName="/ppt/tags/tag1149.xml" ContentType="application/vnd.openxmlformats-officedocument.presentationml.tags+xml"/>
  <Override PartName="/ppt/tags/tag1127.xml" ContentType="application/vnd.openxmlformats-officedocument.presentationml.tags+xml"/>
  <Override PartName="/ppt/tags/tag1122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15" r:id="rId21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08.xml" Id="rId21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1.xlsb" Id="rId1" /></Relationships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72064682446679E-2"/>
          <c:y val="0.10317460317460317"/>
          <c:w val="0.91024138739160998"/>
          <c:h val="0.81620718462823727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-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8</c:v>
                </c:pt>
                <c:pt idx="1">
                  <c:v>6</c:v>
                </c:pt>
                <c:pt idx="2">
                  <c:v>12</c:v>
                </c:pt>
                <c:pt idx="3">
                  <c:v>17</c:v>
                </c:pt>
                <c:pt idx="4">
                  <c:v>16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.999999999999996</c:v>
                </c:pt>
                <c:pt idx="9">
                  <c:v>18.000000000000004</c:v>
                </c:pt>
                <c:pt idx="10">
                  <c:v>17</c:v>
                </c:pt>
                <c:pt idx="11">
                  <c:v>17</c:v>
                </c:pt>
                <c:pt idx="12">
                  <c:v>18.999999999999996</c:v>
                </c:pt>
                <c:pt idx="13">
                  <c:v>21</c:v>
                </c:pt>
                <c:pt idx="14">
                  <c:v>23</c:v>
                </c:pt>
                <c:pt idx="15">
                  <c:v>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FA8-47FF-853B-23C30949501B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5.0999999999999996</c:v>
                </c:pt>
                <c:pt idx="1">
                  <c:v>6</c:v>
                </c:pt>
                <c:pt idx="2">
                  <c:v>6.3000000000000007</c:v>
                </c:pt>
                <c:pt idx="3">
                  <c:v>6.6999999999999993</c:v>
                </c:pt>
                <c:pt idx="4">
                  <c:v>10.8</c:v>
                </c:pt>
                <c:pt idx="5">
                  <c:v>9.6999999999999993</c:v>
                </c:pt>
                <c:pt idx="6">
                  <c:v>7.8999999999999986</c:v>
                </c:pt>
                <c:pt idx="7">
                  <c:v>11.2</c:v>
                </c:pt>
                <c:pt idx="8">
                  <c:v>11.5</c:v>
                </c:pt>
                <c:pt idx="9">
                  <c:v>10.3</c:v>
                </c:pt>
                <c:pt idx="10">
                  <c:v>12.8</c:v>
                </c:pt>
                <c:pt idx="11">
                  <c:v>9.5</c:v>
                </c:pt>
                <c:pt idx="12">
                  <c:v>18.3</c:v>
                </c:pt>
                <c:pt idx="13">
                  <c:v>20.3</c:v>
                </c:pt>
                <c:pt idx="14">
                  <c:v>20.3</c:v>
                </c:pt>
                <c:pt idx="15">
                  <c:v>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FA8-47FF-853B-23C30949501B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FA8-47FF-853B-23C30949501B}"/>
              </c:ext>
            </c:extLst>
          </c:dPt>
          <c:dLbls>
            <c:dLbl>
              <c:idx val="15"/>
              <c:layout>
                <c:manualLayout>
                  <c:x val="0"/>
                  <c:y val="5.6390977443609019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FA8-47FF-853B-23C3094950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4:$P$4</c:f>
              <c:numCache>
                <c:formatCode>General</c:formatCode>
                <c:ptCount val="16"/>
                <c:pt idx="0">
                  <c:v>2.6999999999999993</c:v>
                </c:pt>
                <c:pt idx="1">
                  <c:v>3.4000000000000004</c:v>
                </c:pt>
                <c:pt idx="2">
                  <c:v>4.0999999999999996</c:v>
                </c:pt>
                <c:pt idx="3">
                  <c:v>4.3000000000000007</c:v>
                </c:pt>
                <c:pt idx="4">
                  <c:v>5.8000000000000007</c:v>
                </c:pt>
                <c:pt idx="5">
                  <c:v>5</c:v>
                </c:pt>
                <c:pt idx="6">
                  <c:v>5.0999999999999996</c:v>
                </c:pt>
                <c:pt idx="7">
                  <c:v>7.3000000000000007</c:v>
                </c:pt>
                <c:pt idx="8">
                  <c:v>8.6999999999999993</c:v>
                </c:pt>
                <c:pt idx="9">
                  <c:v>8.3000000000000007</c:v>
                </c:pt>
                <c:pt idx="10">
                  <c:v>9.1999999999999993</c:v>
                </c:pt>
                <c:pt idx="11">
                  <c:v>5.3000000000000007</c:v>
                </c:pt>
                <c:pt idx="12">
                  <c:v>14.2</c:v>
                </c:pt>
                <c:pt idx="13">
                  <c:v>15.399999999999999</c:v>
                </c:pt>
                <c:pt idx="14">
                  <c:v>16</c:v>
                </c:pt>
                <c:pt idx="15">
                  <c:v>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FA8-47FF-853B-23C3094950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5567"/>
          <c:min val="197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4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8.xml.rels>&#65279;<?xml version="1.0" encoding="utf-8"?><Relationships xmlns="http://schemas.openxmlformats.org/package/2006/relationships"><Relationship Type="http://schemas.openxmlformats.org/officeDocument/2006/relationships/slide" Target="/ppt/slides/slide208.xml" Id="rId2" /><Relationship Type="http://schemas.openxmlformats.org/officeDocument/2006/relationships/notesMaster" Target="/ppt/notesMasters/notesMaster1.xml" Id="rId1" /></Relationships>
</file>

<file path=ppt/notesSlides/notesSlide2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59306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8.xml.rels>&#65279;<?xml version="1.0" encoding="utf-8"?><Relationships xmlns="http://schemas.openxmlformats.org/package/2006/relationships"><Relationship Type="http://schemas.openxmlformats.org/officeDocument/2006/relationships/tags" Target="/ppt/tags/tag1132.xml" Id="rId13" /><Relationship Type="http://schemas.openxmlformats.org/officeDocument/2006/relationships/tags" Target="/ppt/tags/tag1137.xml" Id="rId18" /><Relationship Type="http://schemas.openxmlformats.org/officeDocument/2006/relationships/tags" Target="/ppt/tags/tag1145.xml" Id="rId26" /><Relationship Type="http://schemas.openxmlformats.org/officeDocument/2006/relationships/tags" Target="/ppt/tags/tag1140.xml" Id="rId21" /><Relationship Type="http://schemas.openxmlformats.org/officeDocument/2006/relationships/notesSlide" Target="/ppt/notesSlides/notesSlide208.xml" Id="rId34" /><Relationship Type="http://schemas.openxmlformats.org/officeDocument/2006/relationships/tags" Target="/ppt/tags/tag1126.xml" Id="rId7" /><Relationship Type="http://schemas.openxmlformats.org/officeDocument/2006/relationships/tags" Target="/ppt/tags/tag1131.xml" Id="rId12" /><Relationship Type="http://schemas.openxmlformats.org/officeDocument/2006/relationships/tags" Target="/ppt/tags/tag1136.xml" Id="rId17" /><Relationship Type="http://schemas.openxmlformats.org/officeDocument/2006/relationships/tags" Target="/ppt/tags/tag1144.xml" Id="rId25" /><Relationship Type="http://schemas.openxmlformats.org/officeDocument/2006/relationships/slideLayout" Target="/ppt/slideLayouts/slideLayout5.xml" Id="rId33" /><Relationship Type="http://schemas.openxmlformats.org/officeDocument/2006/relationships/tags" Target="/ppt/tags/tag1121.xml" Id="rId2" /><Relationship Type="http://schemas.openxmlformats.org/officeDocument/2006/relationships/tags" Target="/ppt/tags/tag1135.xml" Id="rId16" /><Relationship Type="http://schemas.openxmlformats.org/officeDocument/2006/relationships/tags" Target="/ppt/tags/tag1139.xml" Id="rId20" /><Relationship Type="http://schemas.openxmlformats.org/officeDocument/2006/relationships/tags" Target="/ppt/tags/tag1148.xml" Id="rId29" /><Relationship Type="http://schemas.openxmlformats.org/officeDocument/2006/relationships/vmlDrawing" Target="/ppt/drawings/vmlDrawing212.vml" Id="rId1" /><Relationship Type="http://schemas.openxmlformats.org/officeDocument/2006/relationships/tags" Target="/ppt/tags/tag1125.xml" Id="rId6" /><Relationship Type="http://schemas.openxmlformats.org/officeDocument/2006/relationships/tags" Target="/ppt/tags/tag1130.xml" Id="rId11" /><Relationship Type="http://schemas.openxmlformats.org/officeDocument/2006/relationships/tags" Target="/ppt/tags/tag1143.xml" Id="rId24" /><Relationship Type="http://schemas.openxmlformats.org/officeDocument/2006/relationships/tags" Target="/ppt/tags/tag1151.xml" Id="rId32" /><Relationship Type="http://schemas.openxmlformats.org/officeDocument/2006/relationships/chart" Target="/ppt/charts/chart42.xml" Id="rId37" /><Relationship Type="http://schemas.openxmlformats.org/officeDocument/2006/relationships/tags" Target="/ppt/tags/tag1124.xml" Id="rId5" /><Relationship Type="http://schemas.openxmlformats.org/officeDocument/2006/relationships/tags" Target="/ppt/tags/tag1134.xml" Id="rId15" /><Relationship Type="http://schemas.openxmlformats.org/officeDocument/2006/relationships/tags" Target="/ppt/tags/tag1142.xml" Id="rId23" /><Relationship Type="http://schemas.openxmlformats.org/officeDocument/2006/relationships/tags" Target="/ppt/tags/tag1147.xml" Id="rId28" /><Relationship Type="http://schemas.openxmlformats.org/officeDocument/2006/relationships/image" Target="/ppt/media/image4.emf" Id="rId36" /><Relationship Type="http://schemas.openxmlformats.org/officeDocument/2006/relationships/tags" Target="/ppt/tags/tag1129.xml" Id="rId10" /><Relationship Type="http://schemas.openxmlformats.org/officeDocument/2006/relationships/tags" Target="/ppt/tags/tag1138.xml" Id="rId19" /><Relationship Type="http://schemas.openxmlformats.org/officeDocument/2006/relationships/tags" Target="/ppt/tags/tag1150.xml" Id="rId31" /><Relationship Type="http://schemas.openxmlformats.org/officeDocument/2006/relationships/tags" Target="/ppt/tags/tag1123.xml" Id="rId4" /><Relationship Type="http://schemas.openxmlformats.org/officeDocument/2006/relationships/tags" Target="/ppt/tags/tag1128.xml" Id="rId9" /><Relationship Type="http://schemas.openxmlformats.org/officeDocument/2006/relationships/tags" Target="/ppt/tags/tag1133.xml" Id="rId14" /><Relationship Type="http://schemas.openxmlformats.org/officeDocument/2006/relationships/tags" Target="/ppt/tags/tag1141.xml" Id="rId22" /><Relationship Type="http://schemas.openxmlformats.org/officeDocument/2006/relationships/tags" Target="/ppt/tags/tag1146.xml" Id="rId27" /><Relationship Type="http://schemas.openxmlformats.org/officeDocument/2006/relationships/tags" Target="/ppt/tags/tag1149.xml" Id="rId30" /><Relationship Type="http://schemas.openxmlformats.org/officeDocument/2006/relationships/oleObject" Target="/ppt/embeddings/oleObject212.bin" Id="rId35" /><Relationship Type="http://schemas.openxmlformats.org/officeDocument/2006/relationships/tags" Target="/ppt/tags/tag1127.xml" Id="rId8" /><Relationship Type="http://schemas.openxmlformats.org/officeDocument/2006/relationships/tags" Target="/ppt/tags/tag1122.xml" Id="rId3" /></Relationships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593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7" name="think-cell 幻灯片" r:id="rId35" imgW="349" imgH="350" progId="TCLayout.ActiveDocument.1">
                  <p:embed/>
                </p:oleObj>
              </mc:Choice>
              <mc:Fallback>
                <p:oleObj name="think-cell 幻灯片" r:id="rId3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 series: </a:t>
            </a:r>
            <a:r>
              <a:rPr lang="en-US" altLang="en-US"/>
              <a:t>Line</a:t>
            </a:r>
            <a:endParaRPr lang="en-US"/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9336F67-8314-C11B-5A49-9D8E65A92E7E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77311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A588C0F-6557-7921-2F30-DBF33C748C3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544638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624AC05-84FD-97E9-E7FF-8454785E770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314575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219C39F-E8F4-34CB-1B06-75420334C3D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086100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24305EA2-8326-DDCD-4402-D77AE4CB58D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856038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B36ABE7-D582-10F2-36FB-DE1A46F5ACB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62756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1B04C47-8E9F-3DDE-B328-4B19B306357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97500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2502BB2-2DEC-6069-DC18-86AD0F1CA02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169025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6BEA9ECD-01BE-E308-99D6-7C2FE13D987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938963" y="5426075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063C4EA1-A48F-489E-BB9A-2D6E953563AB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64837850"/>
              </p:ext>
            </p:extLst>
          </p:nvPr>
        </p:nvGraphicFramePr>
        <p:xfrm>
          <a:off x="247650" y="1931988"/>
          <a:ext cx="6773863" cy="380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7688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D18B1-BF39-4D01-B8BB-1B795FFDF979}" type="datetime'''''''''''''''''''''''2''02''''''''''''''''''''''''''''''''4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320800" y="5543550"/>
            <a:ext cx="449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498F512-8D12-45F7-9570-30A6A7EB6245}" type="datetime'2''''''''''''''02''''''''''''''''''6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89150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CEE49B-26A3-4149-9FC2-7A8399E687D8}" type="datetime'20''''''''''''''''''''''''''''''''''''''2''8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60675" y="55435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5DFC37-5082-4301-BFC1-6E46C022CC19}" type="datetime'''2''''''''''''''''''''0''''''''''''''3''''0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32200" y="5543550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F25D2E-1EC9-4B29-94D4-17AAFD9773D3}" type="datetime'''''''''''20''''''3''''''''''''''''''''2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02138" y="5543550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FBEBD3-DC01-4544-9560-BBB6299A8408}" type="datetime'''''''''''''''''''''''20''''3''''''''''''4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73663" y="5543550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A5F1F2-CA9A-4766-9984-A725AC891615}" type="datetime'''''''''''''''''''''''''''''2''''''''0''''''''3''''''''''''6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943600" y="5543550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1D7ED0-2ACA-4BEF-92B5-DCE8F1011ECC}" type="datetime'''''''2''''''''''''''''''''''''0''3''''''''''''''''''8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10363" y="5543550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EE3D82-384B-4CAD-962F-B392BFD49B67}" type="datetime'2''''''''''''04''''''''''0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AAA301C-93EF-7A14-A2E2-550C5D1B0EB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553200" y="2711450"/>
            <a:ext cx="428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13">
            <a:extLst>
              <a:ext uri="{FF2B5EF4-FFF2-40B4-BE49-F238E27FC236}">
                <a16:creationId xmlns:a16="http://schemas.microsoft.com/office/drawing/2014/main" id="{AAB0905C-FE6C-D5D8-6273-D251DA4C9B7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6553200" y="3357563"/>
            <a:ext cx="428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14">
            <a:extLst>
              <a:ext uri="{FF2B5EF4-FFF2-40B4-BE49-F238E27FC236}">
                <a16:creationId xmlns:a16="http://schemas.microsoft.com/office/drawing/2014/main" id="{56A97B2F-9C52-2A15-FBA1-392819BC9B96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6938963" y="2708275"/>
            <a:ext cx="0" cy="6524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185">
            <a:extLst>
              <a:ext uri="{FF2B5EF4-FFF2-40B4-BE49-F238E27FC236}">
                <a16:creationId xmlns:a16="http://schemas.microsoft.com/office/drawing/2014/main" id="{0C29FEE2-5501-5F5D-E844-A8B2FE8CE248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371475" y="1862138"/>
            <a:ext cx="954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Growth [%]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Oval 11">
            <a:extLst>
              <a:ext uri="{FF2B5EF4-FFF2-40B4-BE49-F238E27FC236}">
                <a16:creationId xmlns:a16="http://schemas.microsoft.com/office/drawing/2014/main" id="{3AAB1424-F3B5-4754-9E33-7F8D4362E2B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029449" y="2732088"/>
            <a:ext cx="1206500" cy="603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D&amp;A gap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EB042B31-EF7C-4004-8FC7-B5EC398DF223}" type="datetime'''''5''''''pp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pp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3" name="Straight Connector 6">
            <a:extLst>
              <a:ext uri="{FF2B5EF4-FFF2-40B4-BE49-F238E27FC236}">
                <a16:creationId xmlns:a16="http://schemas.microsoft.com/office/drawing/2014/main" id="{F1FF3CD0-F9AC-F03B-426C-2420E19A63B4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2033588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8">
            <a:extLst>
              <a:ext uri="{FF2B5EF4-FFF2-40B4-BE49-F238E27FC236}">
                <a16:creationId xmlns:a16="http://schemas.microsoft.com/office/drawing/2014/main" id="{F16ADC40-87D7-5422-6BA1-074D0F4A3BF6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3176588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9">
            <a:extLst>
              <a:ext uri="{FF2B5EF4-FFF2-40B4-BE49-F238E27FC236}">
                <a16:creationId xmlns:a16="http://schemas.microsoft.com/office/drawing/2014/main" id="{C329B22E-8C16-4F4B-2A8D-C457A4DDD8E9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4545013" y="5872163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27">
            <a:extLst>
              <a:ext uri="{FF2B5EF4-FFF2-40B4-BE49-F238E27FC236}">
                <a16:creationId xmlns:a16="http://schemas.microsoft.com/office/drawing/2014/main" id="{D313CFA8-A89E-DA6E-DF0C-3B9542DFF88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3256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9F0F481-51B5-4C51-81B5-983E1871D925}" type="datetime'''R''''eve''''''''''n''''''''''''''''''''''''u''e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Rectangle 28">
            <a:extLst>
              <a:ext uri="{FF2B5EF4-FFF2-40B4-BE49-F238E27FC236}">
                <a16:creationId xmlns:a16="http://schemas.microsoft.com/office/drawing/2014/main" id="{E0EBA9A6-901A-C5F7-D8D1-816BC53FEBC4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468687" y="5773738"/>
            <a:ext cx="9652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9AE7E2A-17C5-4D98-BCF1-373E58545B42}" type="datetime'''''E''''V''''''/''''''''''E''''''B''''''I''''TD''''''''''A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V/EBITDA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Rectangle 46">
            <a:extLst>
              <a:ext uri="{FF2B5EF4-FFF2-40B4-BE49-F238E27FC236}">
                <a16:creationId xmlns:a16="http://schemas.microsoft.com/office/drawing/2014/main" id="{8C0C9624-A7C7-FD1D-5522-5E9A1006F3B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837112" y="5773738"/>
            <a:ext cx="7048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31B419E-4D68-4E30-A743-2270033809AF}" type="datetime'''''EV''''''''''''/''''''''''''EB''''I''T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V/EBIT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8657B193-6016-3D74-5600-1B2C2963B8D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949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lines, comment</a:t>
            </a:r>
          </a:p>
        </p:txBody>
      </p:sp>
      <p:sp>
        <p:nvSpPr>
          <p:cNvPr id="7" name="Rechteck 137">
            <a:extLst>
              <a:ext uri="{FF2B5EF4-FFF2-40B4-BE49-F238E27FC236}">
                <a16:creationId xmlns:a16="http://schemas.microsoft.com/office/drawing/2014/main" id="{5D7B9770-CC15-BB44-202B-2008BBDF46D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2E12C46A-1F15-908C-B47B-B84DE6ADD982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AF9407C0-ACBE-6BA3-8E01-62153A1740A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33EA1256-F15F-13C8-EB62-CC6B292FC9A3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3EE7A73E-8730-B396-2380-4A347A8DFF2D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F0147EA0-3959-76B5-BE1B-598DE5FA44A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6FEC5F36-E43E-0286-E3F3-58504C71CB8B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C331DF1A-AD9D-0A52-905A-B259A6631733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4446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HWL6OGPHH5oFxrV8jw9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OKjU0aIh78HPKrsnqnFw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0lf1FfDWTjdFvE25Y.M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UUv9OT5mnMHp2RqHmd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YD1zHnUd60n_5HIKHJ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2ySogmeYPcjIowzXvsw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Mdl38FGWsB7UGCfpXi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lrqyKyQoIsLGq7BUEL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891dzvyBIxpPtqyZlfw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dYokJNFpFJ_r5cp32un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6H68fIJhpl1opUQpJtuA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Jy1RSpwdmGBdNeAL2o.Q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HfIz2ZIzB6uJSO6pen4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BGqMcD3bqfcyBXG7Ufcw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_ZDaifDKbdkbxdQU5TE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ouf2T3fS7NQFUrDSJM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0I4MbeO_EVBPWjEgGM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axEncnunO23Hu3IW2jA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OFdUXCPhCFTZKXRQDg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F1tMUGCtsGDs.3LBLyZ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kSJsNDRW0vXf5kEc4uQ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UUjmDAjQWeXQXfp48za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7YCWn2GOVxdHbjNdb05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GxnqLP1Z_g6bGceNd0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HC_l2rVoNYaoJJ43KI0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UgJdHtrtAzTa9Ekupb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K9.PF_WQCbAIz6hiime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bs058YsIVzJcotNYHRg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gy95q9gZIxFooSOFZAW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xuYpg8yG9G.EIWnFs1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